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2"/>
  </p:notesMasterIdLst>
  <p:sldIdLst>
    <p:sldId id="256" r:id="rId2"/>
    <p:sldId id="330" r:id="rId3"/>
    <p:sldId id="332" r:id="rId4"/>
    <p:sldId id="333" r:id="rId5"/>
    <p:sldId id="334" r:id="rId6"/>
    <p:sldId id="335" r:id="rId7"/>
    <p:sldId id="336" r:id="rId8"/>
    <p:sldId id="354" r:id="rId9"/>
    <p:sldId id="355" r:id="rId10"/>
    <p:sldId id="331" r:id="rId11"/>
    <p:sldId id="337" r:id="rId12"/>
    <p:sldId id="338" r:id="rId13"/>
    <p:sldId id="322" r:id="rId14"/>
    <p:sldId id="339" r:id="rId15"/>
    <p:sldId id="340" r:id="rId16"/>
    <p:sldId id="356" r:id="rId17"/>
    <p:sldId id="341" r:id="rId18"/>
    <p:sldId id="342" r:id="rId19"/>
    <p:sldId id="343" r:id="rId20"/>
    <p:sldId id="344" r:id="rId21"/>
    <p:sldId id="345" r:id="rId22"/>
    <p:sldId id="346" r:id="rId23"/>
    <p:sldId id="357" r:id="rId24"/>
    <p:sldId id="347" r:id="rId25"/>
    <p:sldId id="348" r:id="rId26"/>
    <p:sldId id="349" r:id="rId27"/>
    <p:sldId id="350" r:id="rId28"/>
    <p:sldId id="351" r:id="rId29"/>
    <p:sldId id="352" r:id="rId30"/>
    <p:sldId id="353" r:id="rId31"/>
    <p:sldId id="358" r:id="rId32"/>
    <p:sldId id="359" r:id="rId33"/>
    <p:sldId id="360" r:id="rId34"/>
    <p:sldId id="361" r:id="rId35"/>
    <p:sldId id="362" r:id="rId36"/>
    <p:sldId id="363" r:id="rId37"/>
    <p:sldId id="364" r:id="rId38"/>
    <p:sldId id="365" r:id="rId39"/>
    <p:sldId id="366" r:id="rId40"/>
    <p:sldId id="367" r:id="rId41"/>
    <p:sldId id="368" r:id="rId42"/>
    <p:sldId id="369" r:id="rId43"/>
    <p:sldId id="370" r:id="rId44"/>
    <p:sldId id="371" r:id="rId45"/>
    <p:sldId id="372" r:id="rId46"/>
    <p:sldId id="373" r:id="rId47"/>
    <p:sldId id="374" r:id="rId48"/>
    <p:sldId id="375" r:id="rId49"/>
    <p:sldId id="376" r:id="rId50"/>
    <p:sldId id="377" r:id="rId51"/>
    <p:sldId id="378" r:id="rId52"/>
    <p:sldId id="379" r:id="rId53"/>
    <p:sldId id="380" r:id="rId54"/>
    <p:sldId id="381" r:id="rId55"/>
    <p:sldId id="382" r:id="rId56"/>
    <p:sldId id="383" r:id="rId57"/>
    <p:sldId id="384" r:id="rId58"/>
    <p:sldId id="385" r:id="rId59"/>
    <p:sldId id="386" r:id="rId60"/>
    <p:sldId id="261" r:id="rId6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68" autoAdjust="0"/>
    <p:restoredTop sz="96201" autoAdjust="0"/>
  </p:normalViewPr>
  <p:slideViewPr>
    <p:cSldViewPr snapToGrid="0">
      <p:cViewPr varScale="1">
        <p:scale>
          <a:sx n="90" d="100"/>
          <a:sy n="90" d="100"/>
        </p:scale>
        <p:origin x="102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75062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67074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057954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571754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4610998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2171691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306164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0681491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0569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1973185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8733793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413983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3810628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0613471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0268939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9036802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200622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661396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381101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7452232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8688744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63866092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6595437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0793336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879238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34776487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1805393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434530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99880936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751256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174466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61874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6535337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1070433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1243824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1412930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06153039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55366092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1852242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52173278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85509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98621577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2698256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1696523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76812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9032186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0228988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9520969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63844288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97470833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441292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39599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698992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07196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70599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44939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B573B03-3466-4DD9-9697-4A9B35571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273351"/>
            <a:ext cx="12578555" cy="51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744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2E68734-5B41-4391-8CF2-EE2E3F8FB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65882"/>
            <a:ext cx="12261288" cy="528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26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C72779F-6211-4253-BE7A-99692944FE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6062"/>
            <a:ext cx="12478136" cy="541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225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06F10C-BF6D-4058-805A-ECF592771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4692"/>
            <a:ext cx="12375332" cy="5235717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C83E2CE-2BF8-452D-8933-A94C0F16C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32161"/>
            <a:ext cx="9144000" cy="501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6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ECC8528-7015-428D-8614-9D0BAFDA11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25081"/>
            <a:ext cx="9144000" cy="360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6265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370803D-C8E9-4417-A82B-5B1AC144FF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47833"/>
            <a:ext cx="9144000" cy="501016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1B5E420-B723-499B-B2D6-EECAA764273A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3523373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AF5FF53-13DE-40D1-A877-6B8AA7212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1901"/>
            <a:ext cx="12966374" cy="5493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7804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B411378-CB47-4FE2-A524-3FCDCBC1B5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78172"/>
            <a:ext cx="9144000" cy="370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975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E4E52F5-C561-4EAE-BBD6-64F0E5977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6081"/>
            <a:ext cx="9144000" cy="392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93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A5401BF-AC96-4EBD-B95D-0358B15A0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4169"/>
            <a:ext cx="9144000" cy="55884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400A201-12DD-470D-9C8B-8707B2C2D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02632"/>
            <a:ext cx="9144000" cy="425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94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E696B5E-C3BA-467C-B46B-FA9327A3B3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6401"/>
            <a:ext cx="9144000" cy="432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37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5D5F09C-4FB2-43E8-BE15-F0275FC34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44931"/>
            <a:ext cx="9144000" cy="35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6567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69BD954-700F-46C3-A75E-BF97DE2F4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802376"/>
            <a:ext cx="9144000" cy="497628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5A080265-C0CE-4250-89E8-C79D88C104A8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29048776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D87D4D-D4D9-407F-A2C4-D1195B4D14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35334"/>
            <a:ext cx="9144000" cy="3787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9868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D3A3621-B17E-4460-9503-C94DC3FEC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21" y="1191793"/>
            <a:ext cx="9144000" cy="515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2542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1ECE799-6BF7-4E2B-A744-7EB10BA91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8837"/>
            <a:ext cx="9144000" cy="3720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743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A2CB76A-CB6E-4AAE-814A-D52D6A552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331418"/>
            <a:ext cx="9144000" cy="483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6103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6BA0EA8-C9EE-401F-829E-D8D5CAB02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02551"/>
            <a:ext cx="9144000" cy="385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3719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EC2EB3BE-0A4E-49A2-9172-E5B9DCD9FE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15769"/>
            <a:ext cx="9144000" cy="402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608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69AFEAF-C99D-4F21-8C06-1C30DD9F33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17915"/>
            <a:ext cx="9144000" cy="53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1071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4541AB9-1F5E-4E53-93D8-D2AB8D2B7D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776041"/>
            <a:ext cx="9144000" cy="467080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701F932-1060-4A96-8123-080A9CE325E3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4044926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8F458B5-032D-43DB-92A6-334F03BAE4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49188"/>
            <a:ext cx="9144000" cy="41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6098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D0EFF2C-8E5F-464D-BE37-941E773E3C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05501"/>
            <a:ext cx="9144000" cy="4941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773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ED76E033-6F57-4793-9DBA-B12F575A8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6258"/>
            <a:ext cx="9144000" cy="433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2347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1EECEB0-0BB2-4596-BB0F-9561B265D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267201"/>
            <a:ext cx="9144000" cy="531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8753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6179071-00EC-4C42-9ED1-643405A0D3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70253"/>
            <a:ext cx="9144000" cy="371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107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2454FD3-E54D-42B2-8ABC-86B018CD6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50289"/>
            <a:ext cx="9144000" cy="395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9595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7203556-903C-4AFC-A325-65D0B17ADC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28703"/>
            <a:ext cx="8337571" cy="5829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7028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F49937C-B938-4300-B090-7E01DBCED1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41176"/>
            <a:ext cx="9144000" cy="490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605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91F8992-B9AA-4A7F-B0B5-E80BE3702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95119"/>
            <a:ext cx="9144000" cy="5497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221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01201B6-28EA-4D96-BE8B-593D3F3546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357" y="1231779"/>
            <a:ext cx="7021745" cy="541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5564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C652292-531D-4158-8FAE-5BA32F30A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52326"/>
            <a:ext cx="9144000" cy="541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2810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B4FED71-DA0A-4E5D-90F1-7B63F72AC0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5211"/>
            <a:ext cx="9144000" cy="586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8047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2A578A0-D239-46A2-941C-62E7F1A9D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22756"/>
            <a:ext cx="9144000" cy="437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8742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A90DED1D-933D-4251-AD8F-429DB724FC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4909"/>
            <a:ext cx="9144000" cy="386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16814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FD634FB-0CA7-4DED-BF4A-03A611189B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057" y="1087547"/>
            <a:ext cx="7714695" cy="577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9243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67E16FC-3144-406F-9E2C-3E8F7BB2A1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433422"/>
            <a:ext cx="9144000" cy="399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7636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A83622-31EC-4FA3-B70F-7720C4297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3064"/>
            <a:ext cx="9144000" cy="397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1960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C02376A-2DD3-4DEA-A010-435B1EE4F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583028"/>
            <a:ext cx="9144000" cy="3691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0230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A15294E-08E9-4A62-915F-120CE2510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01239"/>
            <a:ext cx="9144000" cy="405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4384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16F7B26-A6F9-4331-93AC-EBDD77B72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3" y="1116457"/>
            <a:ext cx="9144000" cy="462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445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A5538F8-0694-4D6B-A707-D283B4736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58" y="1136341"/>
            <a:ext cx="7467484" cy="553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23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F8A9175-7C86-4610-9295-C0DBEE0852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1048"/>
            <a:ext cx="9144000" cy="397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124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1DE1910-3300-44C4-BD6E-E88E9AE55B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48454"/>
            <a:ext cx="9144000" cy="500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840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36A5DF8-9BD2-44BD-B0FF-19BA52C240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88" y="1169581"/>
            <a:ext cx="7494118" cy="555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1317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C10FC8D-2CB9-48B9-BDED-2A59EF5CE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100" y="1105785"/>
            <a:ext cx="6407982" cy="564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87211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A1065A1D-19DA-4FAF-85D2-201639487C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7408"/>
            <a:ext cx="9144000" cy="432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0756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4D493F8-D267-4A92-A5C2-30F2CACF28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543439"/>
            <a:ext cx="9144000" cy="49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535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278262F-F217-4CB8-9CB2-8A0D82875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12" y="1260403"/>
            <a:ext cx="6392937" cy="547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20825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8BD414C-456C-465F-8AA1-8B1AC13E7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811" y="1111330"/>
            <a:ext cx="6643594" cy="5746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0094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57C1F8B-807B-4D54-BEC2-F83D090F6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444" y="1103231"/>
            <a:ext cx="7985051" cy="513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45037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2963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2EC3C60-BD5D-4DF0-8077-0F2D4907F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164241"/>
            <a:ext cx="13587375" cy="517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094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336896D-D471-40EA-A44B-1B862BC5D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385697"/>
            <a:ext cx="11768753" cy="525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22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72BC910-0554-4963-A7E0-749A97B5E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1393" y="1100831"/>
            <a:ext cx="6744739" cy="575716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A1760FF-2A04-4B55-9A57-08C13D8347FB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525514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E733EF4-D22E-4FE0-888E-45D3E7384C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955" y="1140832"/>
            <a:ext cx="6210090" cy="561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206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47</TotalTime>
  <Words>1715</Words>
  <Application>Microsoft Office PowerPoint</Application>
  <PresentationFormat>全屏显示(4:3)</PresentationFormat>
  <Paragraphs>181</Paragraphs>
  <Slides>60</Slides>
  <Notes>5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0</vt:i4>
      </vt:variant>
    </vt:vector>
  </HeadingPairs>
  <TitlesOfParts>
    <vt:vector size="66" baseType="lpstr">
      <vt:lpstr>宋体</vt:lpstr>
      <vt:lpstr>微软雅黑</vt:lpstr>
      <vt:lpstr>Arial</vt:lpstr>
      <vt:lpstr>Calibri</vt:lpstr>
      <vt:lpstr>主题5</vt:lpstr>
      <vt:lpstr>think-cell Slide</vt:lpstr>
      <vt:lpstr>工作汇报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e Erde</cp:lastModifiedBy>
  <cp:revision>245</cp:revision>
  <cp:lastPrinted>2018-06-07T16:00:00Z</cp:lastPrinted>
  <dcterms:created xsi:type="dcterms:W3CDTF">2018-06-07T16:00:00Z</dcterms:created>
  <dcterms:modified xsi:type="dcterms:W3CDTF">2018-11-14T02:2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